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2">
  <p:sldMasterIdLst>
    <p:sldMasterId id="2147483652" r:id="rId4"/>
  </p:sldMasterIdLst>
  <p:notesMasterIdLst>
    <p:notesMasterId r:id="rId6"/>
  </p:notesMasterIdLst>
  <p:handoutMasterIdLst>
    <p:handoutMasterId r:id="rId7"/>
  </p:handoutMasterIdLst>
  <p:sldIdLst>
    <p:sldId id="1072" r:id="rId5"/>
  </p:sldIdLst>
  <p:sldSz cx="12192000" cy="6858000"/>
  <p:notesSz cx="7010400" cy="9296400"/>
  <p:defaultTextStyle>
    <a:defPPr>
      <a:defRPr lang="en-US"/>
    </a:defPPr>
    <a:lvl1pPr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34" userDrawn="1">
          <p15:clr>
            <a:srgbClr val="A4A3A4"/>
          </p15:clr>
        </p15:guide>
        <p15:guide id="2" orient="horz" pos="1135" userDrawn="1">
          <p15:clr>
            <a:srgbClr val="A4A3A4"/>
          </p15:clr>
        </p15:guide>
        <p15:guide id="3" orient="horz" pos="3106" userDrawn="1">
          <p15:clr>
            <a:srgbClr val="A4A3A4"/>
          </p15:clr>
        </p15:guide>
        <p15:guide id="4" orient="horz" pos="1335" userDrawn="1">
          <p15:clr>
            <a:srgbClr val="A4A3A4"/>
          </p15:clr>
        </p15:guide>
        <p15:guide id="5" orient="horz" pos="3476" userDrawn="1">
          <p15:clr>
            <a:srgbClr val="A4A3A4"/>
          </p15:clr>
        </p15:guide>
        <p15:guide id="6" orient="horz" pos="1579" userDrawn="1">
          <p15:clr>
            <a:srgbClr val="A4A3A4"/>
          </p15:clr>
        </p15:guide>
        <p15:guide id="7" pos="192" userDrawn="1">
          <p15:clr>
            <a:srgbClr val="A4A3A4"/>
          </p15:clr>
        </p15:guide>
        <p15:guide id="8" pos="3956" userDrawn="1">
          <p15:clr>
            <a:srgbClr val="A4A3A4"/>
          </p15:clr>
        </p15:guide>
        <p15:guide id="9" pos="3843" userDrawn="1">
          <p15:clr>
            <a:srgbClr val="A4A3A4"/>
          </p15:clr>
        </p15:guide>
        <p15:guide id="10" pos="4635" userDrawn="1">
          <p15:clr>
            <a:srgbClr val="A4A3A4"/>
          </p15:clr>
        </p15:guide>
        <p15:guide id="11" pos="356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Roberts" initials="" lastIdx="3" clrIdx="0"/>
  <p:cmAuthor id="1" name="Registered User" initials="RU" lastIdx="1" clrIdx="1"/>
  <p:cmAuthor id="2" name="anhood" initials="a" lastIdx="8" clrIdx="2"/>
  <p:cmAuthor id="3" name="iacampos" initials="i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B66"/>
    <a:srgbClr val="E7EFF6"/>
    <a:srgbClr val="005B7C"/>
    <a:srgbClr val="00339A"/>
    <a:srgbClr val="000066"/>
    <a:srgbClr val="EE7D11"/>
    <a:srgbClr val="699419"/>
    <a:srgbClr val="4D740F"/>
    <a:srgbClr val="B5CA8D"/>
    <a:srgbClr val="8F14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94" autoAdjust="0"/>
    <p:restoredTop sz="91756" autoAdjust="0"/>
  </p:normalViewPr>
  <p:slideViewPr>
    <p:cSldViewPr snapToGrid="0">
      <p:cViewPr varScale="1">
        <p:scale>
          <a:sx n="89" d="100"/>
          <a:sy n="89" d="100"/>
        </p:scale>
        <p:origin x="-418" y="-67"/>
      </p:cViewPr>
      <p:guideLst>
        <p:guide orient="horz" pos="3834"/>
        <p:guide orient="horz" pos="1135"/>
        <p:guide orient="horz" pos="3106"/>
        <p:guide orient="horz" pos="1335"/>
        <p:guide orient="horz" pos="3476"/>
        <p:guide orient="horz" pos="1579"/>
        <p:guide pos="192"/>
        <p:guide pos="3956"/>
        <p:guide pos="3843"/>
        <p:guide pos="4635"/>
        <p:guide pos="3561"/>
      </p:guideLst>
    </p:cSldViewPr>
  </p:slideViewPr>
  <p:outlineViewPr>
    <p:cViewPr>
      <p:scale>
        <a:sx n="33" d="100"/>
        <a:sy n="33" d="100"/>
      </p:scale>
      <p:origin x="60" y="803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00" d="100"/>
        <a:sy n="300" d="100"/>
      </p:scale>
      <p:origin x="0" y="134964"/>
    </p:cViewPr>
  </p:sorterViewPr>
  <p:notesViewPr>
    <p:cSldViewPr snapToGrid="0">
      <p:cViewPr varScale="1">
        <p:scale>
          <a:sx n="112" d="100"/>
          <a:sy n="112" d="100"/>
        </p:scale>
        <p:origin x="-5040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047163"/>
            <a:ext cx="3062288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b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defRPr sz="800" b="0"/>
            </a:lvl1pPr>
          </a:lstStyle>
          <a:p>
            <a:r>
              <a:rPr lang="en-US" dirty="0" smtClean="0"/>
              <a:t>© 2011 Capgemini - All rights reserve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48113" y="9047163"/>
            <a:ext cx="3062287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b" anchorCtr="0" compatLnSpc="1">
            <a:prstTxWarp prst="textNoShape">
              <a:avLst/>
            </a:prstTxWarp>
          </a:bodyPr>
          <a:lstStyle>
            <a:lvl1pPr algn="r" defTabSz="922338">
              <a:defRPr sz="800"/>
            </a:lvl1pPr>
          </a:lstStyle>
          <a:p>
            <a:fld id="{F345E50C-86C3-499D-B2AC-508411C99E2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1927" name="Rectangle 7"/>
          <p:cNvSpPr>
            <a:spLocks noChangeArrowheads="1"/>
          </p:cNvSpPr>
          <p:nvPr/>
        </p:nvSpPr>
        <p:spPr bwMode="auto">
          <a:xfrm>
            <a:off x="0" y="83359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278" tIns="46139" rIns="92278" bIns="46139" anchor="b"/>
          <a:lstStyle/>
          <a:p>
            <a:pPr algn="l" defTabSz="922338">
              <a:lnSpc>
                <a:spcPct val="100000"/>
              </a:lnSpc>
            </a:pPr>
            <a:endParaRPr lang="en-GB" sz="800" b="0" dirty="0"/>
          </a:p>
        </p:txBody>
      </p:sp>
      <p:sp>
        <p:nvSpPr>
          <p:cNvPr id="81928" name="Rectangle 8"/>
          <p:cNvSpPr>
            <a:spLocks noChangeArrowheads="1"/>
          </p:cNvSpPr>
          <p:nvPr/>
        </p:nvSpPr>
        <p:spPr bwMode="auto">
          <a:xfrm>
            <a:off x="3973513" y="8829675"/>
            <a:ext cx="30368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278" tIns="46139" rIns="92278" bIns="46139" anchor="b"/>
          <a:lstStyle/>
          <a:p>
            <a:pPr algn="r" defTabSz="922338">
              <a:lnSpc>
                <a:spcPct val="100000"/>
              </a:lnSpc>
            </a:pPr>
            <a:endParaRPr lang="en-GB" sz="800" dirty="0"/>
          </a:p>
        </p:txBody>
      </p:sp>
      <p:sp>
        <p:nvSpPr>
          <p:cNvPr id="81929" name="Rectangle 9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967163" y="0"/>
            <a:ext cx="303688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t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defRPr sz="14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522175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973513" y="0"/>
            <a:ext cx="303688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t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defRPr sz="1400"/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14338" y="700088"/>
            <a:ext cx="6189662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81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303688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b" anchorCtr="0" compatLnSpc="1">
            <a:prstTxWarp prst="textNoShape">
              <a:avLst/>
            </a:prstTxWarp>
          </a:bodyPr>
          <a:lstStyle>
            <a:lvl1pPr algn="l" defTabSz="922338">
              <a:lnSpc>
                <a:spcPct val="100000"/>
              </a:lnSpc>
              <a:defRPr sz="800" b="0"/>
            </a:lvl1pPr>
          </a:lstStyle>
          <a:p>
            <a:r>
              <a:rPr lang="en-US" dirty="0" smtClean="0"/>
              <a:t>© 2011 Capgemini - All rights reserved</a:t>
            </a:r>
            <a:endParaRPr lang="en-GB" dirty="0"/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513" y="8829675"/>
            <a:ext cx="30368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78" tIns="46139" rIns="92278" bIns="46139" numCol="1" anchor="b" anchorCtr="0" compatLnSpc="1">
            <a:prstTxWarp prst="textNoShape">
              <a:avLst/>
            </a:prstTxWarp>
          </a:bodyPr>
          <a:lstStyle>
            <a:lvl1pPr algn="r" defTabSz="922338">
              <a:lnSpc>
                <a:spcPct val="100000"/>
              </a:lnSpc>
              <a:defRPr sz="800"/>
            </a:lvl1pPr>
          </a:lstStyle>
          <a:p>
            <a:fld id="{68DFEEDA-D071-42C1-9D96-07A575D20E05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3083" name="Rectangle 11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46088" y="4451350"/>
            <a:ext cx="6170612" cy="416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91" tIns="46146" rIns="92291" bIns="46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dt" idx="1"/>
          </p:nvPr>
        </p:nvSpPr>
        <p:spPr bwMode="auto">
          <a:xfrm>
            <a:off x="3967163" y="0"/>
            <a:ext cx="3017837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91" tIns="46146" rIns="92291" bIns="46146" numCol="1" anchor="t" anchorCtr="0" compatLnSpc="1">
            <a:prstTxWarp prst="textNoShape">
              <a:avLst/>
            </a:prstTxWarp>
          </a:bodyPr>
          <a:lstStyle>
            <a:lvl1pPr algn="r" defTabSz="922338">
              <a:defRPr sz="1200"/>
            </a:lvl1pPr>
          </a:lstStyle>
          <a:p>
            <a:r>
              <a:rPr lang="en-US" dirty="0" smtClean="0"/>
              <a:t>© 2011 Capgemini - All rights reserv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579557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90000"/>
      </a:lnSpc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285750" indent="-95250" algn="l" rtl="0" fontAlgn="base">
      <a:lnSpc>
        <a:spcPct val="90000"/>
      </a:lnSpc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71500" indent="-95250" algn="l" rtl="0" fontAlgn="base">
      <a:lnSpc>
        <a:spcPct val="90000"/>
      </a:lnSpc>
      <a:spcBef>
        <a:spcPct val="3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4338" y="700088"/>
            <a:ext cx="6189662" cy="3482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1 Capgemini -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DFEEDA-D071-42C1-9D96-07A575D20E05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dirty="0" smtClean="0"/>
              <a:t>© 2011 Capgemini - All rights reserv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798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 bwMode="gray">
          <a:xfrm>
            <a:off x="4072467" y="6492876"/>
            <a:ext cx="2336800" cy="19208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32884" y="2503488"/>
            <a:ext cx="8007349" cy="831850"/>
          </a:xfrm>
        </p:spPr>
        <p:txBody>
          <a:bodyPr/>
          <a:lstStyle>
            <a:lvl1pPr fontAlgn="t">
              <a:spcAft>
                <a:spcPct val="0"/>
              </a:spcAft>
              <a:buClrTx/>
              <a:buFontTx/>
              <a:buNone/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 bwMode="gray">
          <a:xfrm>
            <a:off x="626534" y="847725"/>
            <a:ext cx="10041465" cy="1466850"/>
          </a:xfrm>
        </p:spPr>
        <p:txBody>
          <a:bodyPr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5981700"/>
            <a:ext cx="12192000" cy="876300"/>
            <a:chOff x="0" y="5981700"/>
            <a:chExt cx="9144000" cy="876300"/>
          </a:xfrm>
        </p:grpSpPr>
        <p:grpSp>
          <p:nvGrpSpPr>
            <p:cNvPr id="13" name="Group 13"/>
            <p:cNvGrpSpPr/>
            <p:nvPr userDrawn="1"/>
          </p:nvGrpSpPr>
          <p:grpSpPr>
            <a:xfrm>
              <a:off x="0" y="5981700"/>
              <a:ext cx="9144000" cy="876300"/>
              <a:chOff x="0" y="5981700"/>
              <a:chExt cx="9144000" cy="876300"/>
            </a:xfrm>
          </p:grpSpPr>
          <p:sp>
            <p:nvSpPr>
              <p:cNvPr id="15" name="Rectangle 5"/>
              <p:cNvSpPr>
                <a:spLocks noChangeArrowheads="1"/>
              </p:cNvSpPr>
              <p:nvPr userDrawn="1"/>
            </p:nvSpPr>
            <p:spPr bwMode="gray">
              <a:xfrm>
                <a:off x="0" y="6353175"/>
                <a:ext cx="9144000" cy="504825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noAutofit/>
              </a:bodyPr>
              <a:lstStyle/>
              <a:p>
                <a:endParaRPr lang="en-US" sz="2400" dirty="0"/>
              </a:p>
            </p:txBody>
          </p:sp>
          <p:sp>
            <p:nvSpPr>
              <p:cNvPr id="16" name="Oval 6"/>
              <p:cNvSpPr>
                <a:spLocks noChangeArrowheads="1"/>
              </p:cNvSpPr>
              <p:nvPr userDrawn="1"/>
            </p:nvSpPr>
            <p:spPr bwMode="gray">
              <a:xfrm>
                <a:off x="8266079" y="6151501"/>
                <a:ext cx="68" cy="441448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endParaRPr lang="en-US" sz="2400" dirty="0"/>
              </a:p>
            </p:txBody>
          </p:sp>
          <p:pic>
            <p:nvPicPr>
              <p:cNvPr id="18" name="Picture 7" descr="CBE_CMJN"/>
              <p:cNvPicPr>
                <a:picLocks noChangeAspect="1" noChangeArrowheads="1"/>
              </p:cNvPicPr>
              <p:nvPr userDrawn="1"/>
            </p:nvPicPr>
            <p:blipFill>
              <a:blip r:embed="rId2" cstate="print"/>
              <a:srcRect/>
              <a:stretch>
                <a:fillRect/>
              </a:stretch>
            </p:blipFill>
            <p:spPr bwMode="gray">
              <a:xfrm>
                <a:off x="7877175" y="5981700"/>
                <a:ext cx="768350" cy="744538"/>
              </a:xfrm>
              <a:prstGeom prst="rect">
                <a:avLst/>
              </a:prstGeom>
              <a:noFill/>
            </p:spPr>
          </p:pic>
        </p:grpSp>
        <p:pic>
          <p:nvPicPr>
            <p:cNvPr id="14" name="Image 7" descr="Capgemini_Slogan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4821571" y="6426559"/>
              <a:ext cx="2852934" cy="29489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" name="Freeform 2"/>
          <p:cNvSpPr>
            <a:spLocks/>
          </p:cNvSpPr>
          <p:nvPr userDrawn="1"/>
        </p:nvSpPr>
        <p:spPr bwMode="gray">
          <a:xfrm>
            <a:off x="-19051" y="-14288"/>
            <a:ext cx="12211051" cy="6400801"/>
          </a:xfrm>
          <a:custGeom>
            <a:avLst/>
            <a:gdLst/>
            <a:ahLst/>
            <a:cxnLst>
              <a:cxn ang="0">
                <a:pos x="633" y="2936"/>
              </a:cxn>
              <a:cxn ang="0">
                <a:pos x="724" y="2862"/>
              </a:cxn>
              <a:cxn ang="0">
                <a:pos x="814" y="2794"/>
              </a:cxn>
              <a:cxn ang="0">
                <a:pos x="907" y="2731"/>
              </a:cxn>
              <a:cxn ang="0">
                <a:pos x="1002" y="2671"/>
              </a:cxn>
              <a:cxn ang="0">
                <a:pos x="1098" y="2617"/>
              </a:cxn>
              <a:cxn ang="0">
                <a:pos x="1294" y="2520"/>
              </a:cxn>
              <a:cxn ang="0">
                <a:pos x="1494" y="2435"/>
              </a:cxn>
              <a:cxn ang="0">
                <a:pos x="1702" y="2361"/>
              </a:cxn>
              <a:cxn ang="0">
                <a:pos x="1913" y="2296"/>
              </a:cxn>
              <a:cxn ang="0">
                <a:pos x="2127" y="2235"/>
              </a:cxn>
              <a:cxn ang="0">
                <a:pos x="2238" y="2207"/>
              </a:cxn>
              <a:cxn ang="0">
                <a:pos x="2484" y="2149"/>
              </a:cxn>
              <a:cxn ang="0">
                <a:pos x="2729" y="2096"/>
              </a:cxn>
              <a:cxn ang="0">
                <a:pos x="3214" y="2001"/>
              </a:cxn>
              <a:cxn ang="0">
                <a:pos x="3207" y="2001"/>
              </a:cxn>
              <a:cxn ang="0">
                <a:pos x="3938" y="1849"/>
              </a:cxn>
              <a:cxn ang="0">
                <a:pos x="4238" y="1778"/>
              </a:cxn>
              <a:cxn ang="0">
                <a:pos x="4418" y="1729"/>
              </a:cxn>
              <a:cxn ang="0">
                <a:pos x="4582" y="1677"/>
              </a:cxn>
              <a:cxn ang="0">
                <a:pos x="4734" y="1621"/>
              </a:cxn>
              <a:cxn ang="0">
                <a:pos x="4876" y="1558"/>
              </a:cxn>
              <a:cxn ang="0">
                <a:pos x="5009" y="1487"/>
              </a:cxn>
              <a:cxn ang="0">
                <a:pos x="5134" y="1406"/>
              </a:cxn>
              <a:cxn ang="0">
                <a:pos x="5254" y="1314"/>
              </a:cxn>
              <a:cxn ang="0">
                <a:pos x="5371" y="1209"/>
              </a:cxn>
              <a:cxn ang="0">
                <a:pos x="5484" y="1090"/>
              </a:cxn>
              <a:cxn ang="0">
                <a:pos x="5596" y="954"/>
              </a:cxn>
              <a:cxn ang="0">
                <a:pos x="5711" y="801"/>
              </a:cxn>
              <a:cxn ang="0">
                <a:pos x="5769" y="0"/>
              </a:cxn>
              <a:cxn ang="0">
                <a:pos x="9" y="4032"/>
              </a:cxn>
              <a:cxn ang="0">
                <a:pos x="29" y="4032"/>
              </a:cxn>
              <a:cxn ang="0">
                <a:pos x="64" y="3864"/>
              </a:cxn>
              <a:cxn ang="0">
                <a:pos x="111" y="3702"/>
              </a:cxn>
              <a:cxn ang="0">
                <a:pos x="133" y="3646"/>
              </a:cxn>
              <a:cxn ang="0">
                <a:pos x="178" y="3540"/>
              </a:cxn>
              <a:cxn ang="0">
                <a:pos x="229" y="3435"/>
              </a:cxn>
              <a:cxn ang="0">
                <a:pos x="287" y="3337"/>
              </a:cxn>
              <a:cxn ang="0">
                <a:pos x="351" y="3240"/>
              </a:cxn>
              <a:cxn ang="0">
                <a:pos x="424" y="3148"/>
              </a:cxn>
              <a:cxn ang="0">
                <a:pos x="502" y="3059"/>
              </a:cxn>
              <a:cxn ang="0">
                <a:pos x="587" y="2977"/>
              </a:cxn>
              <a:cxn ang="0">
                <a:pos x="633" y="2936"/>
              </a:cxn>
            </a:cxnLst>
            <a:rect l="0" t="0" r="r" b="b"/>
            <a:pathLst>
              <a:path w="5769" h="4032">
                <a:moveTo>
                  <a:pt x="633" y="2936"/>
                </a:moveTo>
                <a:lnTo>
                  <a:pt x="633" y="2936"/>
                </a:lnTo>
                <a:lnTo>
                  <a:pt x="678" y="2899"/>
                </a:lnTo>
                <a:lnTo>
                  <a:pt x="724" y="2862"/>
                </a:lnTo>
                <a:lnTo>
                  <a:pt x="769" y="2827"/>
                </a:lnTo>
                <a:lnTo>
                  <a:pt x="814" y="2794"/>
                </a:lnTo>
                <a:lnTo>
                  <a:pt x="862" y="2762"/>
                </a:lnTo>
                <a:lnTo>
                  <a:pt x="907" y="2731"/>
                </a:lnTo>
                <a:lnTo>
                  <a:pt x="954" y="2701"/>
                </a:lnTo>
                <a:lnTo>
                  <a:pt x="1002" y="2671"/>
                </a:lnTo>
                <a:lnTo>
                  <a:pt x="1051" y="2643"/>
                </a:lnTo>
                <a:lnTo>
                  <a:pt x="1098" y="2617"/>
                </a:lnTo>
                <a:lnTo>
                  <a:pt x="1194" y="2565"/>
                </a:lnTo>
                <a:lnTo>
                  <a:pt x="1294" y="2520"/>
                </a:lnTo>
                <a:lnTo>
                  <a:pt x="1394" y="2475"/>
                </a:lnTo>
                <a:lnTo>
                  <a:pt x="1494" y="2435"/>
                </a:lnTo>
                <a:lnTo>
                  <a:pt x="1598" y="2397"/>
                </a:lnTo>
                <a:lnTo>
                  <a:pt x="1702" y="2361"/>
                </a:lnTo>
                <a:lnTo>
                  <a:pt x="1807" y="2328"/>
                </a:lnTo>
                <a:lnTo>
                  <a:pt x="1913" y="2296"/>
                </a:lnTo>
                <a:lnTo>
                  <a:pt x="2020" y="2266"/>
                </a:lnTo>
                <a:lnTo>
                  <a:pt x="2127" y="2235"/>
                </a:lnTo>
                <a:lnTo>
                  <a:pt x="2238" y="2207"/>
                </a:lnTo>
                <a:lnTo>
                  <a:pt x="2238" y="2207"/>
                </a:lnTo>
                <a:lnTo>
                  <a:pt x="2360" y="2177"/>
                </a:lnTo>
                <a:lnTo>
                  <a:pt x="2484" y="2149"/>
                </a:lnTo>
                <a:lnTo>
                  <a:pt x="2605" y="2121"/>
                </a:lnTo>
                <a:lnTo>
                  <a:pt x="2729" y="2096"/>
                </a:lnTo>
                <a:lnTo>
                  <a:pt x="2973" y="2047"/>
                </a:lnTo>
                <a:lnTo>
                  <a:pt x="3214" y="2001"/>
                </a:lnTo>
                <a:lnTo>
                  <a:pt x="3207" y="2001"/>
                </a:lnTo>
                <a:lnTo>
                  <a:pt x="3207" y="2001"/>
                </a:lnTo>
                <a:lnTo>
                  <a:pt x="3714" y="1897"/>
                </a:lnTo>
                <a:lnTo>
                  <a:pt x="3938" y="1849"/>
                </a:lnTo>
                <a:lnTo>
                  <a:pt x="4142" y="1804"/>
                </a:lnTo>
                <a:lnTo>
                  <a:pt x="4238" y="1778"/>
                </a:lnTo>
                <a:lnTo>
                  <a:pt x="4329" y="1754"/>
                </a:lnTo>
                <a:lnTo>
                  <a:pt x="4418" y="1729"/>
                </a:lnTo>
                <a:lnTo>
                  <a:pt x="4502" y="1705"/>
                </a:lnTo>
                <a:lnTo>
                  <a:pt x="4582" y="1677"/>
                </a:lnTo>
                <a:lnTo>
                  <a:pt x="4660" y="1649"/>
                </a:lnTo>
                <a:lnTo>
                  <a:pt x="4734" y="1621"/>
                </a:lnTo>
                <a:lnTo>
                  <a:pt x="4807" y="1590"/>
                </a:lnTo>
                <a:lnTo>
                  <a:pt x="4876" y="1558"/>
                </a:lnTo>
                <a:lnTo>
                  <a:pt x="4944" y="1522"/>
                </a:lnTo>
                <a:lnTo>
                  <a:pt x="5009" y="1487"/>
                </a:lnTo>
                <a:lnTo>
                  <a:pt x="5073" y="1448"/>
                </a:lnTo>
                <a:lnTo>
                  <a:pt x="5134" y="1406"/>
                </a:lnTo>
                <a:lnTo>
                  <a:pt x="5196" y="1362"/>
                </a:lnTo>
                <a:lnTo>
                  <a:pt x="5254" y="1314"/>
                </a:lnTo>
                <a:lnTo>
                  <a:pt x="5313" y="1263"/>
                </a:lnTo>
                <a:lnTo>
                  <a:pt x="5371" y="1209"/>
                </a:lnTo>
                <a:lnTo>
                  <a:pt x="5427" y="1152"/>
                </a:lnTo>
                <a:lnTo>
                  <a:pt x="5484" y="1090"/>
                </a:lnTo>
                <a:lnTo>
                  <a:pt x="5540" y="1023"/>
                </a:lnTo>
                <a:lnTo>
                  <a:pt x="5596" y="954"/>
                </a:lnTo>
                <a:lnTo>
                  <a:pt x="5653" y="881"/>
                </a:lnTo>
                <a:lnTo>
                  <a:pt x="5711" y="801"/>
                </a:lnTo>
                <a:lnTo>
                  <a:pt x="5769" y="718"/>
                </a:lnTo>
                <a:lnTo>
                  <a:pt x="5769" y="0"/>
                </a:lnTo>
                <a:lnTo>
                  <a:pt x="0" y="9"/>
                </a:lnTo>
                <a:lnTo>
                  <a:pt x="9" y="4032"/>
                </a:lnTo>
                <a:lnTo>
                  <a:pt x="29" y="4032"/>
                </a:lnTo>
                <a:lnTo>
                  <a:pt x="29" y="4032"/>
                </a:lnTo>
                <a:lnTo>
                  <a:pt x="44" y="3950"/>
                </a:lnTo>
                <a:lnTo>
                  <a:pt x="64" y="3864"/>
                </a:lnTo>
                <a:lnTo>
                  <a:pt x="85" y="3784"/>
                </a:lnTo>
                <a:lnTo>
                  <a:pt x="111" y="3702"/>
                </a:lnTo>
                <a:lnTo>
                  <a:pt x="111" y="3702"/>
                </a:lnTo>
                <a:lnTo>
                  <a:pt x="133" y="3646"/>
                </a:lnTo>
                <a:lnTo>
                  <a:pt x="154" y="3592"/>
                </a:lnTo>
                <a:lnTo>
                  <a:pt x="178" y="3540"/>
                </a:lnTo>
                <a:lnTo>
                  <a:pt x="202" y="3487"/>
                </a:lnTo>
                <a:lnTo>
                  <a:pt x="229" y="3435"/>
                </a:lnTo>
                <a:lnTo>
                  <a:pt x="256" y="3387"/>
                </a:lnTo>
                <a:lnTo>
                  <a:pt x="287" y="3337"/>
                </a:lnTo>
                <a:lnTo>
                  <a:pt x="318" y="3288"/>
                </a:lnTo>
                <a:lnTo>
                  <a:pt x="351" y="3240"/>
                </a:lnTo>
                <a:lnTo>
                  <a:pt x="387" y="3193"/>
                </a:lnTo>
                <a:lnTo>
                  <a:pt x="424" y="3148"/>
                </a:lnTo>
                <a:lnTo>
                  <a:pt x="462" y="3104"/>
                </a:lnTo>
                <a:lnTo>
                  <a:pt x="502" y="3059"/>
                </a:lnTo>
                <a:lnTo>
                  <a:pt x="544" y="3018"/>
                </a:lnTo>
                <a:lnTo>
                  <a:pt x="587" y="2977"/>
                </a:lnTo>
                <a:lnTo>
                  <a:pt x="633" y="2936"/>
                </a:lnTo>
                <a:lnTo>
                  <a:pt x="633" y="2936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330201" y="5800725"/>
            <a:ext cx="10058399" cy="5524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1579" y="990600"/>
            <a:ext cx="11582400" cy="5029200"/>
          </a:xfrm>
        </p:spPr>
        <p:txBody>
          <a:bodyPr lIns="0"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321733" y="212726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321579" y="990601"/>
            <a:ext cx="5718048" cy="546099"/>
          </a:xfrm>
          <a:ln w="25400"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321579" y="1549400"/>
            <a:ext cx="5718048" cy="4480560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 baseline="0">
                <a:latin typeface="+mn-lt"/>
              </a:defRPr>
            </a:lvl4pPr>
            <a:lvl5pPr>
              <a:defRPr sz="160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6284" y="990601"/>
            <a:ext cx="5718048" cy="546099"/>
          </a:xfrm>
          <a:ln w="25400"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4"/>
          </p:nvPr>
        </p:nvSpPr>
        <p:spPr>
          <a:xfrm>
            <a:off x="6246284" y="1549400"/>
            <a:ext cx="5718048" cy="4480560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 baseline="0">
                <a:latin typeface="+mn-lt"/>
              </a:defRPr>
            </a:lvl4pPr>
            <a:lvl5pPr>
              <a:defRPr sz="160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321733" y="212726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90771" y="1511300"/>
            <a:ext cx="11406552" cy="45847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1354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0" y="762000"/>
            <a:ext cx="12192000" cy="18288"/>
          </a:xfrm>
          <a:prstGeom prst="rect">
            <a:avLst/>
          </a:prstGeom>
          <a:gradFill flip="none" rotWithShape="1">
            <a:gsLst>
              <a:gs pos="40000">
                <a:schemeClr val="tx1">
                  <a:lumMod val="50000"/>
                  <a:lumOff val="50000"/>
                </a:schemeClr>
              </a:gs>
              <a:gs pos="9000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176" name="Rectangle 120"/>
          <p:cNvSpPr>
            <a:spLocks noChangeArrowheads="1"/>
          </p:cNvSpPr>
          <p:nvPr/>
        </p:nvSpPr>
        <p:spPr bwMode="auto">
          <a:xfrm>
            <a:off x="10323431" y="6318251"/>
            <a:ext cx="129919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45720">
            <a:spAutoFit/>
          </a:bodyPr>
          <a:lstStyle/>
          <a:p>
            <a:pPr algn="r">
              <a:lnSpc>
                <a:spcPct val="100000"/>
              </a:lnSpc>
              <a:spcBef>
                <a:spcPct val="10000"/>
              </a:spcBef>
            </a:pPr>
            <a:r>
              <a:rPr lang="en-US" altLang="en-US" sz="1000" dirty="0" smtClean="0">
                <a:solidFill>
                  <a:schemeClr val="tx2"/>
                </a:solidFill>
              </a:rPr>
              <a:t>|  Financial </a:t>
            </a:r>
            <a:r>
              <a:rPr lang="en-US" altLang="en-US" sz="1000" dirty="0">
                <a:solidFill>
                  <a:schemeClr val="tx2"/>
                </a:solidFill>
              </a:rPr>
              <a:t>Services</a:t>
            </a:r>
          </a:p>
        </p:txBody>
      </p:sp>
      <p:sp>
        <p:nvSpPr>
          <p:cNvPr id="45190" name="Rectangle 134"/>
          <p:cNvSpPr>
            <a:spLocks noGrp="1" noChangeArrowheads="1"/>
          </p:cNvSpPr>
          <p:nvPr>
            <p:ph type="title"/>
          </p:nvPr>
        </p:nvSpPr>
        <p:spPr bwMode="auto">
          <a:xfrm>
            <a:off x="321733" y="212726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5191" name="Rectangle 1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1579" y="990600"/>
            <a:ext cx="115824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45194" name="Picture 138" descr="OK_Capgemini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1668" y="6361114"/>
            <a:ext cx="191981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7"/>
          <p:cNvSpPr>
            <a:spLocks noChangeShapeType="1"/>
          </p:cNvSpPr>
          <p:nvPr/>
        </p:nvSpPr>
        <p:spPr bwMode="gray">
          <a:xfrm>
            <a:off x="11657547" y="6381751"/>
            <a:ext cx="0" cy="43021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400" dirty="0"/>
          </a:p>
        </p:txBody>
      </p: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8104039" y="6553200"/>
            <a:ext cx="3494627" cy="2286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18288" tIns="18288" rIns="18288" bIns="18288">
            <a:noAutofit/>
          </a:bodyPr>
          <a:lstStyle/>
          <a:p>
            <a:pPr marL="0" marR="0" lvl="0" indent="0" algn="r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1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information contained in this presentation is proprietary.</a:t>
            </a:r>
          </a:p>
          <a:p>
            <a:pPr marL="0" marR="0" lvl="0" indent="0" algn="r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1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17 Capgemini. All rights reserved.</a:t>
            </a:r>
            <a:endParaRPr kumimoji="0" lang="en-US" sz="700" b="0" i="0" u="none" strike="noStrike" kern="1200" cap="none" spc="1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676296" y="6483926"/>
            <a:ext cx="341760" cy="223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B32C530-B656-4D89-8F8B-6FC310B806A0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4" r:id="rId2"/>
    <p:sldLayoutId id="2147483670" r:id="rId3"/>
    <p:sldLayoutId id="2147483733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 Narrow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600"/>
        </a:spcAft>
        <a:buClr>
          <a:schemeClr val="accent2"/>
        </a:buClr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7013" algn="l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457200" indent="-228600" algn="l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685800" indent="-228600" algn="l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Symbol" pitchFamily="18" charset="2"/>
        <a:buChar char="-"/>
        <a:defRPr sz="1600">
          <a:solidFill>
            <a:schemeClr val="tx1"/>
          </a:solidFill>
          <a:latin typeface="+mn-lt"/>
        </a:defRPr>
      </a:lvl4pPr>
      <a:lvl5pPr marL="914400" indent="-228600" algn="l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1144588" indent="-160338" algn="l" rtl="0" eaLnBrk="1" fontAlgn="base" hangingPunct="1">
        <a:spcBef>
          <a:spcPct val="0"/>
        </a:spcBef>
        <a:spcAft>
          <a:spcPct val="2000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1601788" indent="-160338" algn="l" rtl="0" eaLnBrk="1" fontAlgn="base" hangingPunct="1">
        <a:spcBef>
          <a:spcPct val="0"/>
        </a:spcBef>
        <a:spcAft>
          <a:spcPct val="2000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058988" indent="-160338" algn="l" rtl="0" eaLnBrk="1" fontAlgn="base" hangingPunct="1">
        <a:spcBef>
          <a:spcPct val="0"/>
        </a:spcBef>
        <a:spcAft>
          <a:spcPct val="2000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516188" indent="-160338" algn="l" rtl="0" eaLnBrk="1" fontAlgn="base" hangingPunct="1">
        <a:spcBef>
          <a:spcPct val="0"/>
        </a:spcBef>
        <a:spcAft>
          <a:spcPct val="2000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481" y="73087"/>
            <a:ext cx="11618976" cy="702167"/>
          </a:xfrm>
        </p:spPr>
        <p:txBody>
          <a:bodyPr/>
          <a:lstStyle/>
          <a:p>
            <a:r>
              <a:rPr lang="en-US" sz="2400" b="0" dirty="0" smtClean="0">
                <a:latin typeface="Arial" panose="020B0604020202020204" pitchFamily="34" charset="0"/>
                <a:cs typeface="Arial" panose="020B0604020202020204" pitchFamily="34" charset="0"/>
              </a:rPr>
              <a:t>Ramkumar P M</a:t>
            </a:r>
            <a:r>
              <a:rPr lang="en-US" b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i="1" dirty="0" smtClean="0"/>
              <a:t>DCX Practice</a:t>
            </a: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6071759" y="954719"/>
            <a:ext cx="5622112" cy="25124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tIns="46800" rIns="45720" bIns="4680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GB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fessional</a:t>
            </a:r>
            <a:r>
              <a:rPr lang="en-GB" sz="95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Experience</a:t>
            </a: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071759" y="1185223"/>
            <a:ext cx="5622112" cy="45790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Has successfully participated in various projects spanning across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ifferent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oles for clients such as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XA,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Quikr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, Residual,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yovel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,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gressiveRx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</a:p>
          <a:p>
            <a:pPr algn="l">
              <a:spcAft>
                <a:spcPts val="100"/>
              </a:spcAft>
              <a:defRPr/>
            </a:pPr>
            <a:endParaRPr lang="en-US" alt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livered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 complex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testing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forecasting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f Test on Demand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n PHP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5.6/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Laravel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5.2, Perfecto API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for a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xa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Technologies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. Major technical challenge of this project was analyzing and transforming the client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ata and cloud based system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via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n Agile delivery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model</a:t>
            </a:r>
          </a:p>
          <a:p>
            <a:pPr algn="l">
              <a:spcAft>
                <a:spcPts val="100"/>
              </a:spcAft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livered a complex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ject Delivery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duct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f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Turk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n PHP 5.6/ </a:t>
            </a:r>
            <a:r>
              <a:rPr lang="en-US" altLang="en-US" sz="950" b="0" dirty="0" err="1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Laravel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5.2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for a </a:t>
            </a:r>
            <a:r>
              <a:rPr lang="en-US" altLang="en-US" sz="950" b="0" dirty="0" err="1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xa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Technologies. Major technical challenge of this project was analyzing and transforming the client data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via an Agile delivery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model</a:t>
            </a: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alt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duct Feature Development 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n PHP 5.3/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loud API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for a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Quikr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client in different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Veritical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via Agile Delivery Model.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algn="l">
              <a:spcAft>
                <a:spcPts val="100"/>
              </a:spcAft>
              <a:defRPr/>
            </a:pPr>
            <a:endParaRPr lang="en-US" alt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livered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 complex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ash forecasting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Social Lending developed on PHP 5.3/ </a:t>
            </a:r>
            <a:r>
              <a:rPr lang="en-US" altLang="en-US" sz="950" b="0" dirty="0" err="1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akePHP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for a </a:t>
            </a:r>
            <a:r>
              <a:rPr lang="en-US" altLang="en-US" sz="950" b="0" dirty="0" err="1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Greenprint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Technologies. Major technical challenge of this project was analyzing and transforming the client data and migrating it to the new application platform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via an Agile delivery model</a:t>
            </a:r>
          </a:p>
          <a:p>
            <a:pPr algn="l">
              <a:spcAft>
                <a:spcPts val="100"/>
              </a:spcAft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duct Feature Development and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maintainence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of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commere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Domain of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gressiveRX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on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HP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5.2/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Xcart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for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rogressiveRx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Client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algn="l">
              <a:spcAft>
                <a:spcPts val="100"/>
              </a:spcAft>
              <a:defRPr/>
            </a:pPr>
            <a:endParaRPr lang="en-US" sz="950" b="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orporate Product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Website Development with Ecommerce in Ahsan client on PHP 5.1 / </a:t>
            </a:r>
            <a:r>
              <a:rPr 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Silverstripe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CMS. Major Technical </a:t>
            </a:r>
            <a:r>
              <a:rPr 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hallege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of this project was analyzing and migrated from different technologies. </a:t>
            </a:r>
          </a:p>
          <a:p>
            <a:pPr algn="l">
              <a:spcAft>
                <a:spcPts val="100"/>
              </a:spcAft>
              <a:defRPr/>
            </a:pPr>
            <a:endParaRPr lang="en-US" alt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SSO with four different client in one place on PHP 5.1/ 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Javascript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.</a:t>
            </a:r>
          </a:p>
          <a:p>
            <a:pPr algn="l">
              <a:spcAft>
                <a:spcPts val="100"/>
              </a:spcAft>
              <a:defRPr/>
            </a:pPr>
            <a:endParaRPr lang="en-US" alt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esidual, which makes the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ffiliate on PHP 5.1/</a:t>
            </a:r>
            <a:r>
              <a:rPr lang="en-US" alt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Javascipt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r>
              <a:rPr lang="en-US" alt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nd it’s very useful to affiliate with other site and highlighting feature parent client rule for affiliate </a:t>
            </a:r>
            <a:r>
              <a:rPr lang="en-US" alt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id.</a:t>
            </a:r>
          </a:p>
          <a:p>
            <a:pPr algn="l">
              <a:spcAft>
                <a:spcPts val="100"/>
              </a:spcAft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1289054" y="1636705"/>
            <a:ext cx="922437" cy="23369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esidence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289054" y="954714"/>
            <a:ext cx="922437" cy="23209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Name</a:t>
            </a: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1289054" y="1185223"/>
            <a:ext cx="922437" cy="23369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Grade</a:t>
            </a: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1289054" y="1414144"/>
            <a:ext cx="922437" cy="23209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Nationality</a:t>
            </a: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289054" y="1857678"/>
            <a:ext cx="922437" cy="23209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ole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214991" y="1636705"/>
            <a:ext cx="3722943" cy="23369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Bangalore</a:t>
            </a:r>
            <a:endParaRPr lang="en-US" sz="100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2214991" y="954714"/>
            <a:ext cx="3722943" cy="2320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amkumar P M	</a:t>
            </a:r>
            <a:endParaRPr lang="en-US" sz="100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2214991" y="1185223"/>
            <a:ext cx="3722943" cy="23369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onsultant (B2)</a:t>
            </a:r>
            <a:endParaRPr lang="en-US" sz="100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2214991" y="1414144"/>
            <a:ext cx="3722943" cy="2320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US" sz="100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Indian</a:t>
            </a:r>
            <a:endParaRPr lang="en-US" sz="100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2214991" y="1857678"/>
            <a:ext cx="3722943" cy="2320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91440" rIns="9144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GB" sz="100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Web Development / PHP</a:t>
            </a:r>
            <a:endParaRPr lang="en-GB" sz="100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329297" y="3833216"/>
            <a:ext cx="5608637" cy="26940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GB" sz="95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xpertise </a:t>
            </a:r>
            <a:r>
              <a:rPr lang="en-GB" sz="950" b="0" dirty="0" smtClean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&amp; </a:t>
            </a:r>
            <a:r>
              <a:rPr lang="en-GB" sz="1000" b="0" dirty="0" smtClean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ompetencies</a:t>
            </a:r>
            <a:r>
              <a:rPr lang="en-GB" sz="950" b="0" dirty="0" smtClean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endParaRPr lang="en-GB" sz="950" b="0" dirty="0">
              <a:solidFill>
                <a:schemeClr val="bg1"/>
              </a:solidFill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7" name="Rectangle 20"/>
          <p:cNvSpPr>
            <a:spLocks noChangeArrowheads="1"/>
          </p:cNvSpPr>
          <p:nvPr/>
        </p:nvSpPr>
        <p:spPr bwMode="auto">
          <a:xfrm>
            <a:off x="329297" y="4094931"/>
            <a:ext cx="5608637" cy="75212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marL="115888" indent="-115888" algn="l" eaLnBrk="0" hangingPunct="0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gile Delivery Management using SCRUM Methodology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15888" indent="-115888" algn="l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velopment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cross platforms such as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HP, REACTJS, </a:t>
            </a:r>
            <a:r>
              <a:rPr 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Javascript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,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JQuery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,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MS , MVC </a:t>
            </a:r>
            <a:r>
              <a:rPr lang="en-US" sz="950" b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HP Framework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nd familiar to entire HTML web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technologies</a:t>
            </a:r>
          </a:p>
          <a:p>
            <a:pPr marL="115888" indent="-115888" algn="l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Have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xperience on MVC Framework and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MS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15888" indent="-115888" algn="l" eaLnBrk="0" hangingPunct="0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Web services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16045" y="2482859"/>
            <a:ext cx="5621889" cy="12273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am has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ver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9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years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of profound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velopment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xperience delivering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complex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IT transformation projects in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global organisations across Insurance,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Health, Product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nd S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rvice industry verticals,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following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to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liver short-term successes in line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with strategic business goals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. </a:t>
            </a:r>
            <a:endParaRPr lang="en-US" sz="950" b="0" dirty="0" smtClean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 eaLnBrk="0" hangingPunct="0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71450" indent="-171450" algn="l">
              <a:spcAft>
                <a:spcPts val="100"/>
              </a:spcAft>
              <a:buFont typeface="Wingdings" panose="05000000000000000000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Ram has extensive experience in successfully handling end-to-end Full Stack projects getting involved right from inception through development and stabilization phases.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He has a proven track record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delivering complex solutions  using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technologies based-on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HP/</a:t>
            </a:r>
            <a:r>
              <a:rPr lang="en-US" sz="950" b="0" dirty="0" err="1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Javascript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latforms,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HP MVC Frameworks, HTML/CSS </a:t>
            </a:r>
            <a:r>
              <a:rPr lang="en-US" sz="950" b="0" dirty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and </a:t>
            </a: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Web-Services</a:t>
            </a:r>
            <a:endParaRPr lang="en-US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316045" y="2213453"/>
            <a:ext cx="5621889" cy="26940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GB" sz="1000" b="0" dirty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Personal Statement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321733" y="5004084"/>
            <a:ext cx="5608637" cy="26940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pPr algn="l" eaLnBrk="0" hangingPunct="0">
              <a:spcAft>
                <a:spcPts val="300"/>
              </a:spcAft>
              <a:tabLst>
                <a:tab pos="6464300" algn="r"/>
              </a:tabLst>
              <a:defRPr/>
            </a:pPr>
            <a:r>
              <a:rPr lang="en-GB" sz="1000" b="0" dirty="0" smtClean="0">
                <a:solidFill>
                  <a:schemeClr val="bg1"/>
                </a:solidFill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Education &amp; Certification</a:t>
            </a:r>
            <a:endParaRPr lang="en-GB" sz="1000" b="0" dirty="0">
              <a:solidFill>
                <a:schemeClr val="bg1"/>
              </a:solidFill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auto">
          <a:xfrm>
            <a:off x="321733" y="5273490"/>
            <a:ext cx="5608637" cy="35368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pPr marL="115888" lvl="1" indent="-115888" algn="l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US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Master of Computer Application – University of Madras</a:t>
            </a:r>
            <a:endParaRPr lang="en-GB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  <a:p>
            <a:pPr marL="115888" lvl="1" indent="-115888" algn="l"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n-GB" sz="950" b="0" dirty="0" smtClean="0">
                <a:latin typeface="Arial" panose="020B0604020202020204" pitchFamily="34" charset="0"/>
                <a:ea typeface="Adobe Fan Heiti Std B" pitchFamily="34" charset="-128"/>
                <a:cs typeface="Arial" panose="020B0604020202020204" pitchFamily="34" charset="0"/>
              </a:rPr>
              <a:t>Bachelor of Computer Application – University of Madras</a:t>
            </a:r>
            <a:endParaRPr lang="en-GB" sz="950" b="0" dirty="0">
              <a:latin typeface="Arial" panose="020B0604020202020204" pitchFamily="34" charset="0"/>
              <a:ea typeface="Adobe Fan Heiti Std B" pitchFamily="34" charset="-128"/>
              <a:cs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41" y="954714"/>
            <a:ext cx="960813" cy="1146744"/>
          </a:xfrm>
          <a:prstGeom prst="rect">
            <a:avLst/>
          </a:prstGeom>
        </p:spPr>
      </p:pic>
      <p:pic>
        <p:nvPicPr>
          <p:cNvPr id="222211" name="Picture 3" descr="C:\Users\Ramkumar PM\Documents\document\PASSPORT_SIZE_PHOTO_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32" t="9980" r="6069" b="21120"/>
          <a:stretch/>
        </p:blipFill>
        <p:spPr bwMode="auto">
          <a:xfrm>
            <a:off x="329297" y="954714"/>
            <a:ext cx="959757" cy="1146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757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FS GBU 2011 PowerPoint Template">
  <a:themeElements>
    <a:clrScheme name="Capgemini Template">
      <a:dk1>
        <a:srgbClr val="000000"/>
      </a:dk1>
      <a:lt1>
        <a:srgbClr val="FFFFFF"/>
      </a:lt1>
      <a:dk2>
        <a:srgbClr val="004B66"/>
      </a:dk2>
      <a:lt2>
        <a:srgbClr val="FFFFFF"/>
      </a:lt2>
      <a:accent1>
        <a:srgbClr val="009BCC"/>
      </a:accent1>
      <a:accent2>
        <a:srgbClr val="B69676"/>
      </a:accent2>
      <a:accent3>
        <a:srgbClr val="80CBE6"/>
      </a:accent3>
      <a:accent4>
        <a:srgbClr val="8B6B4B"/>
      </a:accent4>
      <a:accent5>
        <a:srgbClr val="E6F5FA"/>
      </a:accent5>
      <a:accent6>
        <a:srgbClr val="CBC1AD"/>
      </a:accent6>
      <a:hlink>
        <a:srgbClr val="EE7D11"/>
      </a:hlink>
      <a:folHlink>
        <a:srgbClr val="4D74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pgemini FS Print 1">
        <a:dk1>
          <a:srgbClr val="000000"/>
        </a:dk1>
        <a:lt1>
          <a:srgbClr val="FFFFFF"/>
        </a:lt1>
        <a:dk2>
          <a:srgbClr val="006C8E"/>
        </a:dk2>
        <a:lt2>
          <a:srgbClr val="FFFFFF"/>
        </a:lt2>
        <a:accent1>
          <a:srgbClr val="009BCC"/>
        </a:accent1>
        <a:accent2>
          <a:srgbClr val="7B7B7B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6F6F6F"/>
        </a:accent6>
        <a:hlink>
          <a:srgbClr val="85D0E7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 FS Print 2">
        <a:dk1>
          <a:srgbClr val="000000"/>
        </a:dk1>
        <a:lt1>
          <a:srgbClr val="FFFFFF"/>
        </a:lt1>
        <a:dk2>
          <a:srgbClr val="0080AD"/>
        </a:dk2>
        <a:lt2>
          <a:srgbClr val="FFFFFF"/>
        </a:lt2>
        <a:accent1>
          <a:srgbClr val="009BCC"/>
        </a:accent1>
        <a:accent2>
          <a:srgbClr val="BBAE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A99D6C"/>
        </a:accent6>
        <a:hlink>
          <a:srgbClr val="9F9466"/>
        </a:hlink>
        <a:folHlink>
          <a:srgbClr val="DED7B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 FS Print 3">
        <a:dk1>
          <a:srgbClr val="000000"/>
        </a:dk1>
        <a:lt1>
          <a:srgbClr val="FFFFFF"/>
        </a:lt1>
        <a:dk2>
          <a:srgbClr val="0080AD"/>
        </a:dk2>
        <a:lt2>
          <a:srgbClr val="FFFFFF"/>
        </a:lt2>
        <a:accent1>
          <a:srgbClr val="009BCC"/>
        </a:accent1>
        <a:accent2>
          <a:srgbClr val="BBAE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A99D6C"/>
        </a:accent6>
        <a:hlink>
          <a:srgbClr val="699419"/>
        </a:hlink>
        <a:folHlink>
          <a:srgbClr val="9F94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 FS Print 4">
        <a:dk1>
          <a:srgbClr val="000000"/>
        </a:dk1>
        <a:lt1>
          <a:srgbClr val="FFFFFF"/>
        </a:lt1>
        <a:dk2>
          <a:srgbClr val="0080AD"/>
        </a:dk2>
        <a:lt2>
          <a:srgbClr val="FFFFFF"/>
        </a:lt2>
        <a:accent1>
          <a:srgbClr val="009BCC"/>
        </a:accent1>
        <a:accent2>
          <a:srgbClr val="BBAE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A99D6C"/>
        </a:accent6>
        <a:hlink>
          <a:srgbClr val="40B1D9"/>
        </a:hlink>
        <a:folHlink>
          <a:srgbClr val="9F94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 FS Print 5">
        <a:dk1>
          <a:srgbClr val="000000"/>
        </a:dk1>
        <a:lt1>
          <a:srgbClr val="FFFFFF"/>
        </a:lt1>
        <a:dk2>
          <a:srgbClr val="0080AD"/>
        </a:dk2>
        <a:lt2>
          <a:srgbClr val="FFFFFF"/>
        </a:lt2>
        <a:accent1>
          <a:srgbClr val="009BCC"/>
        </a:accent1>
        <a:accent2>
          <a:srgbClr val="BBAE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A99D6C"/>
        </a:accent6>
        <a:hlink>
          <a:srgbClr val="80CBE6"/>
        </a:hlink>
        <a:folHlink>
          <a:srgbClr val="9F94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 FS Print 6">
        <a:dk1>
          <a:srgbClr val="000000"/>
        </a:dk1>
        <a:lt1>
          <a:srgbClr val="FFFFFF"/>
        </a:lt1>
        <a:dk2>
          <a:srgbClr val="004B66"/>
        </a:dk2>
        <a:lt2>
          <a:srgbClr val="FFFFFF"/>
        </a:lt2>
        <a:accent1>
          <a:srgbClr val="009BCC"/>
        </a:accent1>
        <a:accent2>
          <a:srgbClr val="BBAE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A99D6C"/>
        </a:accent6>
        <a:hlink>
          <a:srgbClr val="80CBE6"/>
        </a:hlink>
        <a:folHlink>
          <a:srgbClr val="9F94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4CB1C1D7BD9E4AA921C701CB363792" ma:contentTypeVersion="0" ma:contentTypeDescription="Create a new document." ma:contentTypeScope="" ma:versionID="034df783a2c78fab30048bd482ed4f2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7D1718-F881-4D7D-95D1-346F8A5B33A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734C79-B5E0-4AF2-B47A-24E34665AE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D3D06C5-DC42-4223-A99E-5C6D9B00EFE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S GBU 2011 PowerPoint Template</Template>
  <TotalTime>27738</TotalTime>
  <Words>446</Words>
  <Application>Microsoft Office PowerPoint</Application>
  <PresentationFormat>Custom</PresentationFormat>
  <Paragraphs>46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FS GBU 2011 PowerPoint Template</vt:lpstr>
      <vt:lpstr>think-cell Slide</vt:lpstr>
      <vt:lpstr>Ramkumar P M DCX Practice</vt:lpstr>
    </vt:vector>
  </TitlesOfParts>
  <Company>Capgemini India Private Limite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White background</dc:subject>
  <dc:creator>Hari Tantri</dc:creator>
  <cp:lastModifiedBy>Ramkumar PM</cp:lastModifiedBy>
  <cp:revision>1367</cp:revision>
  <cp:lastPrinted>2001-10-18T16:19:51Z</cp:lastPrinted>
  <dcterms:created xsi:type="dcterms:W3CDTF">2011-09-23T04:10:38Z</dcterms:created>
  <dcterms:modified xsi:type="dcterms:W3CDTF">2017-10-11T04:38:2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4CB1C1D7BD9E4AA921C701CB363792</vt:lpwstr>
  </property>
</Properties>
</file>